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147470435" r:id="rId5"/>
    <p:sldId id="2365" r:id="rId6"/>
    <p:sldId id="2367" r:id="rId7"/>
    <p:sldId id="2147470461" r:id="rId8"/>
    <p:sldId id="690" r:id="rId9"/>
    <p:sldId id="2147470460" r:id="rId10"/>
  </p:sldIdLst>
  <p:sldSz cx="8961438" cy="6721475"/>
  <p:notesSz cx="7010400" cy="9296400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0">
          <p15:clr>
            <a:srgbClr val="A4A3A4"/>
          </p15:clr>
        </p15:guide>
        <p15:guide id="2" orient="horz" pos="3872">
          <p15:clr>
            <a:srgbClr val="A4A3A4"/>
          </p15:clr>
        </p15:guide>
        <p15:guide id="3" orient="horz" pos="581">
          <p15:clr>
            <a:srgbClr val="A4A3A4"/>
          </p15:clr>
        </p15:guide>
        <p15:guide id="4" pos="3208">
          <p15:clr>
            <a:srgbClr val="A4A3A4"/>
          </p15:clr>
        </p15:guide>
        <p15:guide id="5" pos="2543">
          <p15:clr>
            <a:srgbClr val="A4A3A4"/>
          </p15:clr>
        </p15:guide>
        <p15:guide id="6" orient="horz" pos="3920">
          <p15:clr>
            <a:srgbClr val="A4A3A4"/>
          </p15:clr>
        </p15:guide>
        <p15:guide id="7" pos="3256">
          <p15:clr>
            <a:srgbClr val="A4A3A4"/>
          </p15:clr>
        </p15:guide>
        <p15:guide id="8" pos="271">
          <p15:clr>
            <a:srgbClr val="A4A3A4"/>
          </p15:clr>
        </p15:guide>
        <p15:guide id="9" orient="horz" pos="1220">
          <p15:clr>
            <a:srgbClr val="A4A3A4"/>
          </p15:clr>
        </p15:guide>
        <p15:guide id="10" orient="horz" pos="3865">
          <p15:clr>
            <a:srgbClr val="A4A3A4"/>
          </p15:clr>
        </p15:guide>
        <p15:guide id="11" orient="horz" pos="2634">
          <p15:clr>
            <a:srgbClr val="A4A3A4"/>
          </p15:clr>
        </p15:guide>
        <p15:guide id="12" pos="263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om Innes" initials="tcai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browse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65CC"/>
    <a:srgbClr val="104207"/>
    <a:srgbClr val="155409"/>
    <a:srgbClr val="FF7972"/>
    <a:srgbClr val="91AFFF"/>
    <a:srgbClr val="B2B2B2"/>
    <a:srgbClr val="808080"/>
    <a:srgbClr val="002960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7FD0A2-0EE6-FB4B-B658-9A40526E8C55}" v="7" dt="2025-02-03T19:50:10.76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54" autoAdjust="0"/>
    <p:restoredTop sz="94966" autoAdjust="0"/>
  </p:normalViewPr>
  <p:slideViewPr>
    <p:cSldViewPr snapToGrid="0">
      <p:cViewPr varScale="1">
        <p:scale>
          <a:sx n="119" d="100"/>
          <a:sy n="119" d="100"/>
        </p:scale>
        <p:origin x="616" y="200"/>
      </p:cViewPr>
      <p:guideLst>
        <p:guide orient="horz" pos="270"/>
        <p:guide orient="horz" pos="3872"/>
        <p:guide orient="horz" pos="581"/>
        <p:guide pos="3208"/>
        <p:guide pos="2543"/>
        <p:guide orient="horz" pos="3920"/>
        <p:guide pos="3256"/>
        <p:guide pos="271"/>
        <p:guide orient="horz" pos="1220"/>
        <p:guide orient="horz" pos="3865"/>
        <p:guide orient="horz" pos="2634"/>
        <p:guide pos="2631"/>
      </p:guideLst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-3496" y="-128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18935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782638" y="582613"/>
            <a:ext cx="5451475" cy="40909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68202" y="4994941"/>
            <a:ext cx="597308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256411" y="8928993"/>
            <a:ext cx="55581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 b="0" smtClean="0">
                <a:latin typeface="Arial" pitchFamily="34" charset="0"/>
              </a:defRPr>
            </a:lvl1pPr>
          </a:lstStyle>
          <a:p>
            <a:pPr>
              <a:defRPr/>
            </a:pPr>
            <a:fld id="{33D92FA0-2083-47FF-9A47-3D2E3F20106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5077776" y="95555"/>
            <a:ext cx="173445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 b="0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cs-CZ"/>
              <a:t>NJE-262616.044-20090318-ashoHR1</a:t>
            </a:r>
          </a:p>
        </p:txBody>
      </p:sp>
    </p:spTree>
    <p:extLst>
      <p:ext uri="{BB962C8B-B14F-4D97-AF65-F5344CB8AC3E}">
        <p14:creationId xmlns:p14="http://schemas.microsoft.com/office/powerpoint/2010/main" val="167609736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256411" y="8928993"/>
            <a:ext cx="555815" cy="184666"/>
          </a:xfrm>
          <a:noFill/>
        </p:spPr>
        <p:txBody>
          <a:bodyPr/>
          <a:lstStyle/>
          <a:p>
            <a:fld id="{B1FACAAD-879B-48CC-BC31-400A5EC1081F}" type="slidenum">
              <a:rPr lang="en-US">
                <a:latin typeface="Arial" charset="0"/>
              </a:rPr>
              <a:pPr/>
              <a:t>1</a:t>
            </a:fld>
            <a:endParaRPr lang="en-US">
              <a:latin typeface="Arial" charset="0"/>
            </a:endParaRPr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4225" y="582613"/>
            <a:ext cx="5451475" cy="4090987"/>
          </a:xfrm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7697" y="4993836"/>
            <a:ext cx="5969072" cy="246221"/>
          </a:xfrm>
          <a:noFill/>
          <a:ln/>
        </p:spPr>
        <p:txBody>
          <a:bodyPr/>
          <a:lstStyle/>
          <a:p>
            <a:pPr eaLnBrk="1" hangingPunct="1"/>
            <a:endParaRPr lang="en-GB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31740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256411" y="8928993"/>
            <a:ext cx="555815" cy="184666"/>
          </a:xfrm>
          <a:noFill/>
        </p:spPr>
        <p:txBody>
          <a:bodyPr/>
          <a:lstStyle/>
          <a:p>
            <a:fld id="{B1FACAAD-879B-48CC-BC31-400A5EC1081F}" type="slidenum">
              <a:rPr lang="en-US">
                <a:latin typeface="Arial" charset="0"/>
              </a:rPr>
              <a:pPr/>
              <a:t>2</a:t>
            </a:fld>
            <a:endParaRPr lang="en-US">
              <a:latin typeface="Arial" charset="0"/>
            </a:endParaRPr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4225" y="582613"/>
            <a:ext cx="5451475" cy="4090987"/>
          </a:xfrm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7697" y="4993836"/>
            <a:ext cx="5969072" cy="246221"/>
          </a:xfrm>
          <a:noFill/>
          <a:ln/>
        </p:spPr>
        <p:txBody>
          <a:bodyPr/>
          <a:lstStyle/>
          <a:p>
            <a:pPr eaLnBrk="1" hangingPunct="1"/>
            <a:endParaRPr lang="en-GB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896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6770D5-A6E7-2AC9-5B6E-03D06F32CC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>
            <a:extLst>
              <a:ext uri="{FF2B5EF4-FFF2-40B4-BE49-F238E27FC236}">
                <a16:creationId xmlns:a16="http://schemas.microsoft.com/office/drawing/2014/main" id="{E3783C42-EB78-4136-9822-B6B8785D1CA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xfrm>
            <a:off x="6256411" y="8928993"/>
            <a:ext cx="555815" cy="184666"/>
          </a:xfrm>
          <a:noFill/>
        </p:spPr>
        <p:txBody>
          <a:bodyPr/>
          <a:lstStyle/>
          <a:p>
            <a:fld id="{B1FACAAD-879B-48CC-BC31-400A5EC1081F}" type="slidenum">
              <a:rPr lang="en-US">
                <a:latin typeface="Arial" charset="0"/>
              </a:rPr>
              <a:pPr/>
              <a:t>3</a:t>
            </a:fld>
            <a:endParaRPr lang="en-US">
              <a:latin typeface="Arial" charset="0"/>
            </a:endParaRPr>
          </a:p>
        </p:txBody>
      </p:sp>
      <p:sp>
        <p:nvSpPr>
          <p:cNvPr id="57347" name="Rectangle 2">
            <a:extLst>
              <a:ext uri="{FF2B5EF4-FFF2-40B4-BE49-F238E27FC236}">
                <a16:creationId xmlns:a16="http://schemas.microsoft.com/office/drawing/2014/main" id="{EC6B2908-7209-C78F-226E-58D73ED1051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4225" y="582613"/>
            <a:ext cx="5451475" cy="4090987"/>
          </a:xfrm>
          <a:ln/>
        </p:spPr>
      </p:sp>
      <p:sp>
        <p:nvSpPr>
          <p:cNvPr id="57348" name="Rectangle 3">
            <a:extLst>
              <a:ext uri="{FF2B5EF4-FFF2-40B4-BE49-F238E27FC236}">
                <a16:creationId xmlns:a16="http://schemas.microsoft.com/office/drawing/2014/main" id="{4DC1E76F-0071-2B97-8B32-6DF5A757F79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67697" y="4993836"/>
            <a:ext cx="5969072" cy="246221"/>
          </a:xfrm>
          <a:noFill/>
          <a:ln/>
        </p:spPr>
        <p:txBody>
          <a:bodyPr/>
          <a:lstStyle/>
          <a:p>
            <a:pPr eaLnBrk="1" hangingPunct="1"/>
            <a:endParaRPr lang="en-GB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831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A2431-8E37-B05E-CAE9-BE50D2038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>
            <a:extLst>
              <a:ext uri="{FF2B5EF4-FFF2-40B4-BE49-F238E27FC236}">
                <a16:creationId xmlns:a16="http://schemas.microsoft.com/office/drawing/2014/main" id="{695B0099-2E79-08FD-127A-C4F9159FF75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xfrm>
            <a:off x="6256411" y="8928993"/>
            <a:ext cx="555815" cy="184666"/>
          </a:xfrm>
          <a:noFill/>
        </p:spPr>
        <p:txBody>
          <a:bodyPr/>
          <a:lstStyle/>
          <a:p>
            <a:fld id="{B1FACAAD-879B-48CC-BC31-400A5EC1081F}" type="slidenum">
              <a:rPr lang="en-US">
                <a:latin typeface="Arial" charset="0"/>
              </a:rPr>
              <a:pPr/>
              <a:t>5</a:t>
            </a:fld>
            <a:endParaRPr lang="en-US">
              <a:latin typeface="Arial" charset="0"/>
            </a:endParaRPr>
          </a:p>
        </p:txBody>
      </p:sp>
      <p:sp>
        <p:nvSpPr>
          <p:cNvPr id="57347" name="Rectangle 2">
            <a:extLst>
              <a:ext uri="{FF2B5EF4-FFF2-40B4-BE49-F238E27FC236}">
                <a16:creationId xmlns:a16="http://schemas.microsoft.com/office/drawing/2014/main" id="{BB1C5861-09F6-CC0E-CE8A-374F2F959C0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4225" y="582613"/>
            <a:ext cx="5451475" cy="4090987"/>
          </a:xfrm>
          <a:ln/>
        </p:spPr>
      </p:sp>
      <p:sp>
        <p:nvSpPr>
          <p:cNvPr id="57348" name="Rectangle 3">
            <a:extLst>
              <a:ext uri="{FF2B5EF4-FFF2-40B4-BE49-F238E27FC236}">
                <a16:creationId xmlns:a16="http://schemas.microsoft.com/office/drawing/2014/main" id="{8918DF63-C857-45F4-40C7-0BA3DB4A238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67697" y="4993836"/>
            <a:ext cx="5969072" cy="246221"/>
          </a:xfrm>
          <a:noFill/>
          <a:ln/>
        </p:spPr>
        <p:txBody>
          <a:bodyPr/>
          <a:lstStyle/>
          <a:p>
            <a:pPr eaLnBrk="1" hangingPunct="1"/>
            <a:endParaRPr lang="en-GB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752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8540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2F213F-5903-49BE-AC0C-53CC701E0BF7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AE55E7-3E05-4124-A1C1-18370025D759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270F10-ACF8-4BCD-942A-D9008F0DE62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E53B91-71C2-473F-86E2-CBB3FE6D3F1D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91000"/>
                    </a14:imgEffect>
                  </a14:imgLayer>
                </a14:imgProps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06622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842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900">
                <a:latin typeface="Arial" pitchFamily="34" charset="0"/>
              </a:rPr>
              <a:t>WORKING DRAFT</a:t>
            </a:r>
          </a:p>
        </p:txBody>
      </p:sp>
      <p:grpSp>
        <p:nvGrpSpPr>
          <p:cNvPr id="5" name="McK Title Elements"/>
          <p:cNvGrpSpPr>
            <a:grpSpLocks/>
          </p:cNvGrpSpPr>
          <p:nvPr/>
        </p:nvGrpSpPr>
        <p:grpSpPr bwMode="auto">
          <a:xfrm>
            <a:off x="2640013" y="4933950"/>
            <a:ext cx="4935537" cy="1152525"/>
            <a:chOff x="1663" y="3108"/>
            <a:chExt cx="3109" cy="726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en-US" sz="1400" b="0">
                  <a:latin typeface="Arial" pitchFamily="34" charset="0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US" sz="1400" b="0">
                  <a:latin typeface="Arial" pitchFamily="34" charset="0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80"/>
              <a:ext cx="2777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en-US" sz="800" b="0">
                  <a:latin typeface="Arial" pitchFamily="34" charset="0"/>
                </a:rPr>
                <a:t>CONFIDENTIAL AND PROPRIETARY</a:t>
              </a:r>
            </a:p>
            <a:p>
              <a:pPr defTabSz="804863" eaLnBrk="0" hangingPunct="0">
                <a:defRPr/>
              </a:pPr>
              <a:r>
                <a:rPr lang="en-US" sz="800" b="0">
                  <a:latin typeface="Arial" pitchFamily="34" charset="0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2013" y="6446838"/>
            <a:ext cx="1633537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endParaRPr lang="ru-RU" sz="800" b="0">
              <a:latin typeface="Arial" pitchFamily="34" charset="0"/>
            </a:endParaRP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2725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 descr="Screen Shot 2014-11-13 at 6.32.41 P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88" y="-164754"/>
            <a:ext cx="8967426" cy="706262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DF0296-A7D1-4CE2-80CA-48139363AB39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489BE7-BE1F-42B3-BC1B-16B26F7FB193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72D496-8C75-48D7-9BE0-23BE6B6F0213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F62A83-35AD-4FA2-AC45-B7BCF862A0A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9039D-6C6D-4E82-BDFD-CD38170626A3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B6CDAB-8E7C-40CF-B5A7-B03B19D5A6D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" name="SlideBottomBar"/>
          <p:cNvSpPr>
            <a:spLocks noChangeArrowheads="1"/>
          </p:cNvSpPr>
          <p:nvPr userDrawn="1"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>
              <a:lumMod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 b="0">
              <a:latin typeface="Arial" pitchFamily="34" charset="0"/>
            </a:endParaRPr>
          </a:p>
        </p:txBody>
      </p:sp>
      <p:sp>
        <p:nvSpPr>
          <p:cNvPr id="1843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0">
                <a:solidFill>
                  <a:srgbClr val="808080"/>
                </a:solidFill>
                <a:latin typeface="Arial" pitchFamily="34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 b="0">
                <a:solidFill>
                  <a:srgbClr val="808080"/>
                </a:solidFill>
                <a:latin typeface="Arial" pitchFamily="34" charset="0"/>
              </a:rPr>
              <a:t>Unit of measure</a:t>
            </a:r>
          </a:p>
        </p:txBody>
      </p:sp>
      <p:grpSp>
        <p:nvGrpSpPr>
          <p:cNvPr id="18439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 b="0">
                  <a:latin typeface="Arial" pitchFamily="34" charset="0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b="0">
                  <a:solidFill>
                    <a:srgbClr val="000000"/>
                  </a:solidFill>
                  <a:latin typeface="Arial" pitchFamily="34" charset="0"/>
                </a:rPr>
                <a:t>SOURCE: Source</a:t>
              </a:r>
            </a:p>
          </p:txBody>
        </p:sp>
      </p:grpSp>
      <p:grpSp>
        <p:nvGrpSpPr>
          <p:cNvPr id="18440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844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>
                  <a:latin typeface="Arial" pitchFamily="34" charset="0"/>
                </a:rPr>
                <a:t>Title</a:t>
              </a:r>
            </a:p>
            <a:p>
              <a:pPr>
                <a:defRPr/>
              </a:pPr>
              <a:r>
                <a:rPr lang="en-US" b="0">
                  <a:solidFill>
                    <a:srgbClr val="808080"/>
                  </a:solidFill>
                  <a:latin typeface="Arial" pitchFamily="34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01857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 b="1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B3C69225-B441-46CD-8E1F-3A68FE68781A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18445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12" name="SlideLogoSeparator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407968" y="6387535"/>
            <a:ext cx="5023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400" b="1">
                <a:solidFill>
                  <a:schemeClr val="bg1"/>
                </a:solidFill>
                <a:latin typeface="Arial" pitchFamily="34" charset="0"/>
              </a:rPr>
              <a:t>|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648179" y="6341369"/>
            <a:ext cx="70894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spc="200" dirty="0">
                <a:solidFill>
                  <a:srgbClr val="FFFFFF"/>
                </a:solidFill>
                <a:latin typeface="Verlag Bold"/>
                <a:cs typeface="Verlag Bold"/>
              </a:rPr>
              <a:t>© All Points Broadband</a:t>
            </a:r>
            <a:r>
              <a:rPr lang="en-US" sz="1200" spc="200" baseline="0" dirty="0">
                <a:solidFill>
                  <a:srgbClr val="FFFFFF"/>
                </a:solidFill>
                <a:latin typeface="Verlag Bold"/>
                <a:cs typeface="Verlag Bold"/>
              </a:rPr>
              <a:t> </a:t>
            </a:r>
            <a:r>
              <a:rPr lang="en-US" sz="1200" spc="200" dirty="0">
                <a:solidFill>
                  <a:srgbClr val="FFFFFF"/>
                </a:solidFill>
                <a:latin typeface="Verlag Bold"/>
                <a:cs typeface="Verlag Bold"/>
              </a:rPr>
              <a:t>2025</a:t>
            </a:r>
          </a:p>
          <a:p>
            <a:endParaRPr lang="en-US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1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oleObject" Target="../embeddings/oleObject1.bin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7.png"/><Relationship Id="rId4" Type="http://schemas.openxmlformats.org/officeDocument/2006/relationships/tags" Target="../tags/tag9.xml"/><Relationship Id="rId9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218063" y="1961793"/>
            <a:ext cx="8743375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3600" spc="150" dirty="0">
                <a:solidFill>
                  <a:schemeClr val="bg1"/>
                </a:solidFill>
                <a:latin typeface="Verlag Bold"/>
                <a:cs typeface="Verlag Bold"/>
              </a:rPr>
              <a:t>All Points Broadband</a:t>
            </a:r>
          </a:p>
          <a:p>
            <a:pPr algn="ctr"/>
            <a:r>
              <a:rPr lang="en-US" sz="3600" spc="150" dirty="0">
                <a:solidFill>
                  <a:schemeClr val="bg1"/>
                </a:solidFill>
                <a:latin typeface="Verlag Bold"/>
                <a:cs typeface="Verlag Bold"/>
              </a:rPr>
              <a:t>---</a:t>
            </a:r>
          </a:p>
          <a:p>
            <a:pPr algn="ctr"/>
            <a:r>
              <a:rPr lang="en-US" sz="3600" spc="150" dirty="0">
                <a:solidFill>
                  <a:schemeClr val="bg1"/>
                </a:solidFill>
                <a:latin typeface="Verlag Bold"/>
                <a:cs typeface="Verlag Bold"/>
              </a:rPr>
              <a:t>Page County Broadband Update</a:t>
            </a:r>
          </a:p>
          <a:p>
            <a:pPr algn="ctr"/>
            <a:endParaRPr lang="en-US" sz="3600" spc="150" dirty="0">
              <a:solidFill>
                <a:schemeClr val="bg1"/>
              </a:solidFill>
              <a:latin typeface="Verlag Bold"/>
              <a:cs typeface="Verlag Bold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0" y="6292850"/>
            <a:ext cx="8961438" cy="4286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808306" y="5543927"/>
            <a:ext cx="4153132" cy="420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aseline="30000" dirty="0">
                <a:solidFill>
                  <a:schemeClr val="tx2">
                    <a:lumMod val="75000"/>
                  </a:schemeClr>
                </a:solidFill>
                <a:latin typeface="Plantin MT Pro"/>
                <a:cs typeface="Plantin MT Pro"/>
              </a:rPr>
              <a:t>December 1, 2025</a:t>
            </a:r>
          </a:p>
        </p:txBody>
      </p:sp>
    </p:spTree>
    <p:extLst>
      <p:ext uri="{BB962C8B-B14F-4D97-AF65-F5344CB8AC3E}">
        <p14:creationId xmlns:p14="http://schemas.microsoft.com/office/powerpoint/2010/main" val="35404611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63176F9-74A7-4563-BAE4-702773785246}" type="slidenum">
              <a:rPr lang="en-US">
                <a:latin typeface="Arial" charset="0"/>
              </a:rPr>
              <a:pPr/>
              <a:t>1</a:t>
            </a:fld>
            <a:r>
              <a:rPr lang="en-US">
                <a:latin typeface="Arial" charset="0"/>
              </a:rPr>
              <a:t> </a:t>
            </a:r>
          </a:p>
        </p:txBody>
      </p:sp>
      <p:graphicFrame>
        <p:nvGraphicFramePr>
          <p:cNvPr id="25602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560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19063" y="230188"/>
            <a:ext cx="8842375" cy="292388"/>
          </a:xfrm>
        </p:spPr>
        <p:txBody>
          <a:bodyPr/>
          <a:lstStyle/>
          <a:p>
            <a:pPr eaLnBrk="1" hangingPunct="1"/>
            <a:r>
              <a:rPr lang="en-GB" dirty="0"/>
              <a:t>Broadband Project Overall Status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B5E6B4C9-2433-2955-4B87-F451DCBC70B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76875" y="843857"/>
            <a:ext cx="8368637" cy="609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APB service expected to begin in Page in 2</a:t>
            </a:r>
            <a:r>
              <a:rPr lang="en-US" sz="1800" b="0" baseline="30000" dirty="0">
                <a:latin typeface="+mj-lt"/>
                <a:cs typeface="Helvetica"/>
              </a:rPr>
              <a:t>nd</a:t>
            </a:r>
            <a:r>
              <a:rPr lang="en-US" sz="1800" b="0" dirty="0">
                <a:latin typeface="+mj-lt"/>
                <a:cs typeface="Helvetica"/>
              </a:rPr>
              <a:t> quarter of 2026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1</a:t>
            </a:r>
            <a:r>
              <a:rPr lang="en-US" sz="1800" b="0" baseline="30000" dirty="0">
                <a:latin typeface="+mj-lt"/>
                <a:cs typeface="Helvetica"/>
              </a:rPr>
              <a:t>st</a:t>
            </a:r>
            <a:r>
              <a:rPr lang="en-US" sz="1800" b="0" dirty="0">
                <a:latin typeface="+mj-lt"/>
                <a:cs typeface="Helvetica"/>
              </a:rPr>
              <a:t> of 4 network cabinets constructed; pending upstream service activation in Februa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VDOT land use permit approval and SVEC pole attachment approval continue to determine critical path progr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VDOT land use permit statu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Strong, collaborative relationship with Harrisonburg residency; volume of permit applications, oversight, and inspection are significant burd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Initial application submitted in August and awaiting approval or request to revise &amp; resubmit; currently have 22 miles worth of fiber routes pending approval (out of 116 total underground mile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APB crews will mobilize to areas with approved permits following utility locate clearance, approximately 10 days from permit approv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SVEC pole attachment application have begun to be submitt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APB’s network redesign limited attachments to approximately 2600 poles for 59 miles of aerial fiber construc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7173218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63176F9-74A7-4563-BAE4-702773785246}" type="slidenum">
              <a:rPr lang="en-US">
                <a:latin typeface="Arial" charset="0"/>
              </a:rPr>
              <a:pPr/>
              <a:t>2</a:t>
            </a:fld>
            <a:r>
              <a:rPr lang="en-US">
                <a:latin typeface="Arial" charset="0"/>
              </a:rPr>
              <a:t> </a:t>
            </a:r>
          </a:p>
        </p:txBody>
      </p:sp>
      <p:graphicFrame>
        <p:nvGraphicFramePr>
          <p:cNvPr id="25602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560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19063" y="230188"/>
            <a:ext cx="8842375" cy="292388"/>
          </a:xfrm>
        </p:spPr>
        <p:txBody>
          <a:bodyPr/>
          <a:lstStyle/>
          <a:p>
            <a:pPr eaLnBrk="1" hangingPunct="1"/>
            <a:r>
              <a:rPr lang="en-GB" dirty="0"/>
              <a:t>PAGE-1 Cabinet Construction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B5E6B4C9-2433-2955-4B87-F451DCBC70B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9063" y="626143"/>
            <a:ext cx="862171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+mj-lt"/>
              <a:cs typeface="Helvetica"/>
            </a:endParaRPr>
          </a:p>
        </p:txBody>
      </p:sp>
      <p:pic>
        <p:nvPicPr>
          <p:cNvPr id="1028" name="Picture 4" descr="A map of a forest&#10;&#10;AI-generated content may be incorrect.">
            <a:extLst>
              <a:ext uri="{FF2B5EF4-FFF2-40B4-BE49-F238E27FC236}">
                <a16:creationId xmlns:a16="http://schemas.microsoft.com/office/drawing/2014/main" id="{F0C21620-A28E-6546-2EF3-A08F59DA49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3653" y="1961767"/>
            <a:ext cx="6637786" cy="4302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34DDDCB-9A47-BB38-8E8B-2F318F9B8943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30681" t="18546" r="23244" b="25001"/>
          <a:stretch>
            <a:fillRect/>
          </a:stretch>
        </p:blipFill>
        <p:spPr>
          <a:xfrm>
            <a:off x="220663" y="720762"/>
            <a:ext cx="3582298" cy="3291841"/>
          </a:xfrm>
          <a:prstGeom prst="rect">
            <a:avLst/>
          </a:prstGeom>
          <a:effectLst>
            <a:outerShdw blurRad="50800" dist="118183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E5D851DF-2FD5-6B27-4F79-0353936EE2D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110150" y="720762"/>
            <a:ext cx="485128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Power installed by SVE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Backhaul from Comcast est. mid-Febru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cs typeface="Helvetica"/>
              </a:rPr>
              <a:t>All cabinets connected by March</a:t>
            </a:r>
          </a:p>
        </p:txBody>
      </p:sp>
    </p:spTree>
    <p:extLst>
      <p:ext uri="{BB962C8B-B14F-4D97-AF65-F5344CB8AC3E}">
        <p14:creationId xmlns:p14="http://schemas.microsoft.com/office/powerpoint/2010/main" val="1219644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A15A7A-2F40-4857-0444-3CC3F2AF4E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Slide Number Placeholder 2">
            <a:extLst>
              <a:ext uri="{FF2B5EF4-FFF2-40B4-BE49-F238E27FC236}">
                <a16:creationId xmlns:a16="http://schemas.microsoft.com/office/drawing/2014/main" id="{7AE6AB86-BA10-DA49-48D9-49118707EB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63176F9-74A7-4563-BAE4-702773785246}" type="slidenum">
              <a:rPr lang="en-US">
                <a:latin typeface="Arial" charset="0"/>
              </a:rPr>
              <a:pPr/>
              <a:t>3</a:t>
            </a:fld>
            <a:r>
              <a:rPr lang="en-US">
                <a:latin typeface="Arial" charset="0"/>
              </a:rPr>
              <a:t> </a:t>
            </a:r>
          </a:p>
        </p:txBody>
      </p:sp>
      <p:graphicFrame>
        <p:nvGraphicFramePr>
          <p:cNvPr id="25602" name="Object 2" hidden="1">
            <a:extLst>
              <a:ext uri="{FF2B5EF4-FFF2-40B4-BE49-F238E27FC236}">
                <a16:creationId xmlns:a16="http://schemas.microsoft.com/office/drawing/2014/main" id="{EC3220D8-73AB-187F-4B5A-66776E4D63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560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Rectangle 3">
            <a:extLst>
              <a:ext uri="{FF2B5EF4-FFF2-40B4-BE49-F238E27FC236}">
                <a16:creationId xmlns:a16="http://schemas.microsoft.com/office/drawing/2014/main" id="{7327656A-B8ED-641F-E2A9-F21F9E89E81B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19063" y="230188"/>
            <a:ext cx="8842375" cy="292388"/>
          </a:xfrm>
        </p:spPr>
        <p:txBody>
          <a:bodyPr/>
          <a:lstStyle/>
          <a:p>
            <a:pPr eaLnBrk="1" hangingPunct="1"/>
            <a:r>
              <a:rPr lang="en-GB" dirty="0"/>
              <a:t>Register for Notifications – </a:t>
            </a:r>
            <a:r>
              <a:rPr lang="en-GB" dirty="0" err="1"/>
              <a:t>APBfiber.com</a:t>
            </a:r>
            <a:endParaRPr lang="en-GB" dirty="0"/>
          </a:p>
        </p:txBody>
      </p:sp>
      <p:pic>
        <p:nvPicPr>
          <p:cNvPr id="3" name="Picture 2" descr="A person and a child looking at a tablet&#10;&#10;AI-generated content may be incorrect.">
            <a:extLst>
              <a:ext uri="{FF2B5EF4-FFF2-40B4-BE49-F238E27FC236}">
                <a16:creationId xmlns:a16="http://schemas.microsoft.com/office/drawing/2014/main" id="{C7FA7542-8FAB-37B6-3785-AAD2C0BD6D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63" y="742278"/>
            <a:ext cx="5990342" cy="3098662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6279757-E98D-36CB-FE93-62D93BBB95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523" y="2782697"/>
            <a:ext cx="4566621" cy="28410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389E96C1-CEB1-DC3F-8245-38DAD3EAF1D0}"/>
              </a:ext>
            </a:extLst>
          </p:cNvPr>
          <p:cNvSpPr/>
          <p:nvPr/>
        </p:nvSpPr>
        <p:spPr bwMode="auto">
          <a:xfrm>
            <a:off x="613186" y="2915322"/>
            <a:ext cx="1301675" cy="445415"/>
          </a:xfrm>
          <a:prstGeom prst="roundRect">
            <a:avLst/>
          </a:prstGeom>
          <a:noFill/>
          <a:ln w="317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992DD50-95D3-A324-1B51-C12978FF969F}"/>
              </a:ext>
            </a:extLst>
          </p:cNvPr>
          <p:cNvCxnSpPr>
            <a:stCxn id="7" idx="3"/>
            <a:endCxn id="6" idx="1"/>
          </p:cNvCxnSpPr>
          <p:nvPr/>
        </p:nvCxnSpPr>
        <p:spPr bwMode="auto">
          <a:xfrm>
            <a:off x="1914861" y="3138030"/>
            <a:ext cx="2161662" cy="1065210"/>
          </a:xfrm>
          <a:prstGeom prst="straightConnector1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531169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218063" y="1961333"/>
            <a:ext cx="8743375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4400" spc="150">
                <a:solidFill>
                  <a:schemeClr val="bg1"/>
                </a:solidFill>
                <a:latin typeface="Verlag Bold"/>
                <a:cs typeface="Verlag Bold"/>
              </a:rPr>
              <a:t>Thank You</a:t>
            </a:r>
            <a:endParaRPr lang="en-US" sz="4400" spc="150" dirty="0">
              <a:solidFill>
                <a:schemeClr val="bg1"/>
              </a:solidFill>
              <a:latin typeface="Verlag Bold"/>
              <a:cs typeface="Verlag Bold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0" y="6292850"/>
            <a:ext cx="8961438" cy="4286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48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2BFD93-FC77-3472-3DA3-16DB8426D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Slide Number Placeholder 2">
            <a:extLst>
              <a:ext uri="{FF2B5EF4-FFF2-40B4-BE49-F238E27FC236}">
                <a16:creationId xmlns:a16="http://schemas.microsoft.com/office/drawing/2014/main" id="{30269CC6-2B68-5E2E-03C7-B5E5FA02EF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63176F9-74A7-4563-BAE4-702773785246}" type="slidenum">
              <a:rPr lang="en-US">
                <a:latin typeface="Arial" charset="0"/>
              </a:rPr>
              <a:pPr/>
              <a:t>5</a:t>
            </a:fld>
            <a:r>
              <a:rPr lang="en-US">
                <a:latin typeface="Arial" charset="0"/>
              </a:rPr>
              <a:t> </a:t>
            </a:r>
          </a:p>
        </p:txBody>
      </p:sp>
      <p:graphicFrame>
        <p:nvGraphicFramePr>
          <p:cNvPr id="25602" name="Object 2" hidden="1">
            <a:extLst>
              <a:ext uri="{FF2B5EF4-FFF2-40B4-BE49-F238E27FC236}">
                <a16:creationId xmlns:a16="http://schemas.microsoft.com/office/drawing/2014/main" id="{1A39808A-3237-BD10-38E8-65E877A2F0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5602" name="Object 2" hidden="1">
                        <a:extLst>
                          <a:ext uri="{FF2B5EF4-FFF2-40B4-BE49-F238E27FC236}">
                            <a16:creationId xmlns:a16="http://schemas.microsoft.com/office/drawing/2014/main" id="{1A39808A-3237-BD10-38E8-65E877A2F03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Rectangle 3">
            <a:extLst>
              <a:ext uri="{FF2B5EF4-FFF2-40B4-BE49-F238E27FC236}">
                <a16:creationId xmlns:a16="http://schemas.microsoft.com/office/drawing/2014/main" id="{DD5C432F-86D7-33DF-52AA-8C870B31A3EB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19063" y="230188"/>
            <a:ext cx="8842375" cy="584775"/>
          </a:xfrm>
        </p:spPr>
        <p:txBody>
          <a:bodyPr/>
          <a:lstStyle/>
          <a:p>
            <a:pPr eaLnBrk="1" hangingPunct="1"/>
            <a:r>
              <a:rPr lang="en-GB" dirty="0"/>
              <a:t>Adding or Modifying Locations through the National Broadband Map (</a:t>
            </a:r>
            <a:r>
              <a:rPr lang="en-US" dirty="0"/>
              <a:t>https://</a:t>
            </a:r>
            <a:r>
              <a:rPr lang="en-US" dirty="0" err="1"/>
              <a:t>broadbandmap.fcc.gov</a:t>
            </a:r>
            <a:r>
              <a:rPr lang="en-US" dirty="0"/>
              <a:t>/)</a:t>
            </a:r>
            <a:endParaRPr lang="en-GB" dirty="0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66D47665-1DED-28E2-8BAD-36F4BC7D9F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007" y="1665715"/>
            <a:ext cx="7797424" cy="321120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CD86C8A-11CD-2EBD-D8D4-8DD06103FACF}"/>
              </a:ext>
            </a:extLst>
          </p:cNvPr>
          <p:cNvSpPr txBox="1"/>
          <p:nvPr/>
        </p:nvSpPr>
        <p:spPr>
          <a:xfrm>
            <a:off x="236668" y="1071062"/>
            <a:ext cx="8433719" cy="33855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Modify: Click on map icon for your location to begin “Location Challenge” proces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CE34CB-25C3-07CC-D1B6-2F0F8405E10A}"/>
              </a:ext>
            </a:extLst>
          </p:cNvPr>
          <p:cNvSpPr txBox="1"/>
          <p:nvPr/>
        </p:nvSpPr>
        <p:spPr>
          <a:xfrm>
            <a:off x="236667" y="5311859"/>
            <a:ext cx="6628738" cy="58477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dd: Navigate to your location and click on screen above building</a:t>
            </a:r>
          </a:p>
          <a:p>
            <a:r>
              <a:rPr lang="en-US" dirty="0"/>
              <a:t> to begin “Add a New Location” proces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97A4F64-862E-2176-24DF-73B5A3408174}"/>
              </a:ext>
            </a:extLst>
          </p:cNvPr>
          <p:cNvCxnSpPr>
            <a:cxnSpLocks/>
            <a:stCxn id="5" idx="2"/>
          </p:cNvCxnSpPr>
          <p:nvPr/>
        </p:nvCxnSpPr>
        <p:spPr bwMode="auto">
          <a:xfrm>
            <a:off x="4453528" y="1409616"/>
            <a:ext cx="3376884" cy="1196595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9874086-5CA5-9ABC-D425-F5C354DD06FA}"/>
              </a:ext>
            </a:extLst>
          </p:cNvPr>
          <p:cNvCxnSpPr>
            <a:cxnSpLocks/>
            <a:stCxn id="6" idx="0"/>
          </p:cNvCxnSpPr>
          <p:nvPr/>
        </p:nvCxnSpPr>
        <p:spPr bwMode="auto">
          <a:xfrm flipH="1" flipV="1">
            <a:off x="3539266" y="3539266"/>
            <a:ext cx="11770" cy="1772593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1908697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&gt;&lt;version val=&quot;17280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5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OSeeFyGDUyA047cBBTw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OSeeFyGDUyA047cBBTw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OSeeFyGDUyA047cBBTw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eivegpUUy7ZxlrVk2c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OSeeFyGDUyA047cBBTw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eivegpUUy7ZxlrVk2c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eivegpUUy7ZxlrVk2cmA"/>
</p:tagLst>
</file>

<file path=ppt/theme/theme1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DBDD101CD31941937274361A687762" ma:contentTypeVersion="14" ma:contentTypeDescription="Create a new document." ma:contentTypeScope="" ma:versionID="ffa0ec3852477b3350f869074429165a">
  <xsd:schema xmlns:xsd="http://www.w3.org/2001/XMLSchema" xmlns:xs="http://www.w3.org/2001/XMLSchema" xmlns:p="http://schemas.microsoft.com/office/2006/metadata/properties" xmlns:ns2="5dd711ac-39a3-4a44-923a-096988c06fdd" xmlns:ns3="a04a3adb-aae6-44c8-8bfc-1f5fd17137e1" targetNamespace="http://schemas.microsoft.com/office/2006/metadata/properties" ma:root="true" ma:fieldsID="95cd8e02e4f25f7b1288d26963196a4d" ns2:_="" ns3:_="">
    <xsd:import namespace="5dd711ac-39a3-4a44-923a-096988c06fdd"/>
    <xsd:import namespace="a04a3adb-aae6-44c8-8bfc-1f5fd17137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d711ac-39a3-4a44-923a-096988c06fd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c9fc488-e9d9-410a-a874-ba8272c7f1b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4a3adb-aae6-44c8-8bfc-1f5fd17137e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c21bcff-354b-4b0c-9ab6-6dce90537cdd}" ma:internalName="TaxCatchAll" ma:showField="CatchAllData" ma:web="a04a3adb-aae6-44c8-8bfc-1f5fd17137e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dd711ac-39a3-4a44-923a-096988c06fdd">
      <Terms xmlns="http://schemas.microsoft.com/office/infopath/2007/PartnerControls"/>
    </lcf76f155ced4ddcb4097134ff3c332f>
    <TaxCatchAll xmlns="a04a3adb-aae6-44c8-8bfc-1f5fd17137e1" xsi:nil="true"/>
    <SharedWithUsers xmlns="a04a3adb-aae6-44c8-8bfc-1f5fd17137e1">
      <UserInfo>
        <DisplayName>Jimmy Carr</DisplayName>
        <AccountId>1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5607CD67-C1A2-4C2D-9C38-5E92D6BFF73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0AF62C8-C9FA-4D3D-9DC9-7F2C57E1C2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d711ac-39a3-4a44-923a-096988c06fdd"/>
    <ds:schemaRef ds:uri="a04a3adb-aae6-44c8-8bfc-1f5fd17137e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D71CEF1-A8A2-4F14-9E1D-502E76DBBA64}">
  <ds:schemaRefs>
    <ds:schemaRef ds:uri="http://schemas.microsoft.com/office/2006/metadata/properties"/>
    <ds:schemaRef ds:uri="http://purl.org/dc/elements/1.1/"/>
    <ds:schemaRef ds:uri="http://purl.org/dc/terms/"/>
    <ds:schemaRef ds:uri="http://schemas.openxmlformats.org/package/2006/metadata/core-properties"/>
    <ds:schemaRef ds:uri="5dd711ac-39a3-4a44-923a-096988c06fdd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a04a3adb-aae6-44c8-8bfc-1f5fd17137e1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1063</TotalTime>
  <Words>251</Words>
  <Application>Microsoft Macintosh PowerPoint</Application>
  <PresentationFormat>Custom</PresentationFormat>
  <Paragraphs>36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Plantin MT Pro</vt:lpstr>
      <vt:lpstr>Verlag Bold</vt:lpstr>
      <vt:lpstr>Blank</vt:lpstr>
      <vt:lpstr>think-cell Slide</vt:lpstr>
      <vt:lpstr>PowerPoint Presentation</vt:lpstr>
      <vt:lpstr>Broadband Project Overall Status</vt:lpstr>
      <vt:lpstr>PAGE-1 Cabinet Construction</vt:lpstr>
      <vt:lpstr>Register for Notifications – APBfiber.com</vt:lpstr>
      <vt:lpstr>PowerPoint Presentation</vt:lpstr>
      <vt:lpstr>Adding or Modifying Locations through the National Broadband Map (https://broadbandmap.fcc.gov/)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luing Corporate Social Responsibility and Sustainability</dc:title>
  <dc:creator>Noemie Brun</dc:creator>
  <cp:lastModifiedBy>Tom Innes</cp:lastModifiedBy>
  <cp:revision>1471</cp:revision>
  <cp:lastPrinted>2023-10-26T14:51:32Z</cp:lastPrinted>
  <dcterms:created xsi:type="dcterms:W3CDTF">2009-03-12T09:33:14Z</dcterms:created>
  <dcterms:modified xsi:type="dcterms:W3CDTF">2025-12-01T21:0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false</vt:bool>
  </property>
  <property fmtid="{D5CDD505-2E9C-101B-9397-08002B2CF9AE}" pid="6" name="Title">
    <vt:lpwstr>Valuing Corporate Social Responsibility and Sustainability</vt:lpwstr>
  </property>
  <property fmtid="{D5CDD505-2E9C-101B-9397-08002B2CF9AE}" pid="7" name="Event">
    <vt:lpwstr/>
  </property>
  <property fmtid="{D5CDD505-2E9C-101B-9397-08002B2CF9AE}" pid="8" name="Delivery Date">
    <vt:lpwstr>March 2009</vt:lpwstr>
  </property>
  <property fmtid="{D5CDD505-2E9C-101B-9397-08002B2CF9AE}" pid="9" name="DocID">
    <vt:lpwstr>NJE-262616.044-20090318-ashoHR1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  <property fmtid="{D5CDD505-2E9C-101B-9397-08002B2CF9AE}" pid="13" name="ContentTypeId">
    <vt:lpwstr>0x01010007DBDD101CD31941937274361A687762</vt:lpwstr>
  </property>
  <property fmtid="{D5CDD505-2E9C-101B-9397-08002B2CF9AE}" pid="14" name="MediaServiceImageTags">
    <vt:lpwstr/>
  </property>
</Properties>
</file>